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7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8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tags/tag15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6" r:id="rId4"/>
    <p:sldMasterId id="2147483672" r:id="rId5"/>
    <p:sldMasterId id="2147483682" r:id="rId6"/>
    <p:sldMasterId id="2147483687" r:id="rId7"/>
    <p:sldMasterId id="2147483700" r:id="rId8"/>
    <p:sldMasterId id="2147483706" r:id="rId9"/>
    <p:sldMasterId id="2147483720" r:id="rId10"/>
    <p:sldMasterId id="2147483725" r:id="rId11"/>
  </p:sldMasterIdLst>
  <p:notesMasterIdLst>
    <p:notesMasterId r:id="rId13"/>
  </p:notesMasterIdLst>
  <p:handoutMasterIdLst>
    <p:handoutMasterId r:id="rId14"/>
  </p:handoutMasterIdLst>
  <p:sldIdLst>
    <p:sldId id="1591" r:id="rId12"/>
  </p:sldIdLst>
  <p:sldSz cx="9144000" cy="5143500" type="screen16x9"/>
  <p:notesSz cx="14355763" cy="9926638"/>
  <p:custDataLst>
    <p:tags r:id="rId15"/>
  </p:custDataLst>
  <p:defaultTextStyle>
    <a:defPPr>
      <a:defRPr lang="fr-FR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" id="{07ACB740-76C1-4CDA-8418-66AF3E0D2E12}">
          <p14:sldIdLst>
            <p14:sldId id="1591"/>
          </p14:sldIdLst>
        </p14:section>
        <p14:section name="Backups" id="{D810126B-E50F-454F-B287-B98F5DC8609F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597" userDrawn="1">
          <p15:clr>
            <a:srgbClr val="A4A3A4"/>
          </p15:clr>
        </p15:guide>
        <p15:guide id="2" pos="240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hierry Fraudet" initials="TF" lastIdx="5" clrIdx="0"/>
  <p:cmAuthor id="2" name="Lea" initials="L" lastIdx="1" clrIdx="1">
    <p:extLst>
      <p:ext uri="{19B8F6BF-5375-455C-9EA6-DF929625EA0E}">
        <p15:presenceInfo xmlns:p15="http://schemas.microsoft.com/office/powerpoint/2012/main" userId="Lea" providerId="None"/>
      </p:ext>
    </p:extLst>
  </p:cmAuthor>
  <p:cmAuthor id="3" name="NICOLAS CHEVALIER" initials="NC" lastIdx="1" clrIdx="2">
    <p:extLst>
      <p:ext uri="{19B8F6BF-5375-455C-9EA6-DF929625EA0E}">
        <p15:presenceInfo xmlns:p15="http://schemas.microsoft.com/office/powerpoint/2012/main" userId="0b620b125fcccd49" providerId="Windows Live"/>
      </p:ext>
    </p:extLst>
  </p:cmAuthor>
  <p:cmAuthor id="4" name="nicolas chevalier" initials="nc" lastIdx="1" clrIdx="3">
    <p:extLst>
      <p:ext uri="{19B8F6BF-5375-455C-9EA6-DF929625EA0E}">
        <p15:presenceInfo xmlns:p15="http://schemas.microsoft.com/office/powerpoint/2012/main" userId="nicolas chevali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7509B"/>
    <a:srgbClr val="85BC25"/>
    <a:srgbClr val="CDCD06"/>
    <a:srgbClr val="1AD1A5"/>
    <a:srgbClr val="00CC9B"/>
    <a:srgbClr val="00866E"/>
    <a:srgbClr val="FFF915"/>
    <a:srgbClr val="5FBFBB"/>
    <a:srgbClr val="97A56A"/>
    <a:srgbClr val="95C11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DFE48E2-9F47-4D26-A23D-D5AC4E9FE820}" v="7" dt="2020-10-20T16:14:30.51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060" autoAdjust="0"/>
    <p:restoredTop sz="96136" autoAdjust="0"/>
  </p:normalViewPr>
  <p:slideViewPr>
    <p:cSldViewPr snapToGrid="0">
      <p:cViewPr varScale="1">
        <p:scale>
          <a:sx n="184" d="100"/>
          <a:sy n="184" d="100"/>
        </p:scale>
        <p:origin x="744" y="176"/>
      </p:cViewPr>
      <p:guideLst>
        <p:guide orient="horz" pos="1597"/>
        <p:guide pos="2404"/>
      </p:guideLst>
    </p:cSldViewPr>
  </p:slideViewPr>
  <p:outlineViewPr>
    <p:cViewPr>
      <p:scale>
        <a:sx n="33" d="100"/>
        <a:sy n="33" d="100"/>
      </p:scale>
      <p:origin x="0" y="806"/>
    </p:cViewPr>
  </p:outlineViewPr>
  <p:notesTextViewPr>
    <p:cViewPr>
      <p:scale>
        <a:sx n="20" d="100"/>
        <a:sy n="20" d="100"/>
      </p:scale>
      <p:origin x="0" y="0"/>
    </p:cViewPr>
  </p:notesTextViewPr>
  <p:sorterViewPr>
    <p:cViewPr>
      <p:scale>
        <a:sx n="59" d="100"/>
        <a:sy n="59" d="100"/>
      </p:scale>
      <p:origin x="0" y="0"/>
    </p:cViewPr>
  </p:sorterViewPr>
  <p:notesViewPr>
    <p:cSldViewPr snapToGrid="0" showGuides="1">
      <p:cViewPr varScale="1">
        <p:scale>
          <a:sx n="114" d="100"/>
          <a:sy n="114" d="100"/>
        </p:scale>
        <p:origin x="2376" y="45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Master" Target="slideMasters/slideMaster7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813161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r">
              <a:defRPr sz="1800"/>
            </a:lvl1pPr>
          </a:lstStyle>
          <a:p>
            <a:fld id="{9BFAC1C7-9E5D-4441-A8DE-D4FA72AEF22D}" type="datetimeFigureOut">
              <a:rPr lang="fr-FR" smtClean="0"/>
              <a:t>15/12/2020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813161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r">
              <a:defRPr sz="1800"/>
            </a:lvl1pPr>
          </a:lstStyle>
          <a:p>
            <a:fld id="{3549939F-CAB9-FE40-8FD3-31C143F5FB1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7042528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813161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r">
              <a:defRPr sz="1800"/>
            </a:lvl1pPr>
          </a:lstStyle>
          <a:p>
            <a:fld id="{6D15EC3C-BFA7-9E4C-BB13-BAA5658834CA}" type="datetimeFigureOut">
              <a:rPr lang="fr-FR" smtClean="0"/>
              <a:t>15/12/2020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3868738" y="744538"/>
            <a:ext cx="6618287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8751" tIns="69376" rIns="138751" bIns="69376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97545" y="4715155"/>
            <a:ext cx="12648142" cy="3116537"/>
          </a:xfrm>
          <a:prstGeom prst="rect">
            <a:avLst/>
          </a:prstGeom>
        </p:spPr>
        <p:txBody>
          <a:bodyPr vert="horz" lIns="138751" tIns="69376" rIns="138751" bIns="69376" rtlCol="0"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813161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r">
              <a:defRPr sz="1800"/>
            </a:lvl1pPr>
          </a:lstStyle>
          <a:p>
            <a:fld id="{5DEDB5E3-C477-CC4C-8674-BAC7A0562584}" type="slidenum">
              <a:rPr lang="fr-FR" smtClean="0"/>
              <a:t>‹N°›</a:t>
            </a:fld>
            <a:endParaRPr lang="fr-FR"/>
          </a:p>
        </p:txBody>
      </p:sp>
      <p:pic>
        <p:nvPicPr>
          <p:cNvPr id="9" name="Graphique 8" descr="Cible">
            <a:extLst>
              <a:ext uri="{FF2B5EF4-FFF2-40B4-BE49-F238E27FC236}">
                <a16:creationId xmlns:a16="http://schemas.microsoft.com/office/drawing/2014/main" id="{D55A4087-F0C7-4BFF-885C-5D4194568E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8133806"/>
            <a:ext cx="1914102" cy="992664"/>
          </a:xfrm>
          <a:prstGeom prst="rect">
            <a:avLst/>
          </a:prstGeom>
        </p:spPr>
      </p:pic>
      <p:sp>
        <p:nvSpPr>
          <p:cNvPr id="10" name="Espace réservé des commentaires 4">
            <a:extLst>
              <a:ext uri="{FF2B5EF4-FFF2-40B4-BE49-F238E27FC236}">
                <a16:creationId xmlns:a16="http://schemas.microsoft.com/office/drawing/2014/main" id="{9EA060DA-AD3F-4E58-9E10-24B2ED513D81}"/>
              </a:ext>
            </a:extLst>
          </p:cNvPr>
          <p:cNvSpPr txBox="1">
            <a:spLocks/>
          </p:cNvSpPr>
          <p:nvPr/>
        </p:nvSpPr>
        <p:spPr>
          <a:xfrm>
            <a:off x="1996306" y="8002211"/>
            <a:ext cx="10796666" cy="1162421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marL="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56107043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11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48"/>
          <a:stretch/>
        </p:blipFill>
        <p:spPr>
          <a:xfrm>
            <a:off x="0" y="0"/>
            <a:ext cx="308729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graphicFrame>
        <p:nvGraphicFramePr>
          <p:cNvPr id="11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86247098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12" name="Picture 2" descr="C:\Users\F299251\Pictures\Nouveau Logo MICHELIN\Michelin_G_Stacked_WhiteBG_061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52385" y="222917"/>
            <a:ext cx="2021336" cy="1186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56321" y="4227180"/>
            <a:ext cx="1813463" cy="938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490725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2569" y="404113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81153" y="154662"/>
            <a:ext cx="2240866" cy="1178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85190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1"/>
          <p:cNvSpPr>
            <a:spLocks noGrp="1"/>
          </p:cNvSpPr>
          <p:nvPr>
            <p:ph type="ctrTitle" hasCustomPrompt="1"/>
          </p:nvPr>
        </p:nvSpPr>
        <p:spPr>
          <a:xfrm>
            <a:off x="2596444" y="2058385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CHAPITR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6" name="Image 5" descr="maincadr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3946" y="668868"/>
            <a:ext cx="3500054" cy="2042256"/>
          </a:xfrm>
          <a:prstGeom prst="rect">
            <a:avLst/>
          </a:prstGeom>
        </p:spPr>
      </p:pic>
      <p:pic>
        <p:nvPicPr>
          <p:cNvPr id="9" name="Image 8" descr="maincadre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370673"/>
            <a:ext cx="3386571" cy="2547558"/>
          </a:xfrm>
          <a:prstGeom prst="rect">
            <a:avLst/>
          </a:prstGeom>
        </p:spPr>
      </p:pic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2569" y="404113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319704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4044244" y="2058385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 CHAPITR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Image 7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3344331" cy="5143500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2569" y="404113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69722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1980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4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214708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8631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4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85926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160513_mains_bibcoeur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2514600" y="2037915"/>
            <a:ext cx="4114800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CHAPITRE</a:t>
            </a:r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189314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11718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72612703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820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5756282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2E27339-EA36-444E-85CB-9D714C78FFAE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CC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9252" lvl="1"/>
            <a:endParaRPr lang="en-US" sz="1100" dirty="0">
              <a:latin typeface="Michelin Black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63347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30767536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8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72310" y="157119"/>
            <a:ext cx="2215108" cy="1300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81141" y="423189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3220140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4D105E16-D5E1-4D64-AD26-C534546FB4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5C347C-3775-4079-AA1B-58FA31717E2C}" type="datetimeFigureOut">
              <a:rPr lang="fr-FR"/>
              <a:pPr>
                <a:defRPr/>
              </a:pPr>
              <a:t>15/12/2020</a:t>
            </a:fld>
            <a:endParaRPr lang="fr-FR"/>
          </a:p>
        </p:txBody>
      </p:sp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3339C858-0B98-4BF3-A6B8-50A17A41E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537F054D-EF34-49E3-BB68-1F0007ECE7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96B4C0-53F4-4027-BC6F-53D040BDEC7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660053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48"/>
          <a:stretch/>
        </p:blipFill>
        <p:spPr>
          <a:xfrm>
            <a:off x="0" y="0"/>
            <a:ext cx="308729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Picture 2" descr="C:\Users\F299251\Pictures\Nouveau Logo MICHELIN\Michelin_G_Stacked_WhiteBG_061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94394" y="4046923"/>
            <a:ext cx="2021336" cy="1186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941144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4044244" y="2267024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Image 7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3344331" cy="5143500"/>
          </a:xfrm>
          <a:prstGeom prst="rect">
            <a:avLst/>
          </a:prstGeom>
        </p:spPr>
      </p:pic>
      <p:pic>
        <p:nvPicPr>
          <p:cNvPr id="6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07847" y="4038680"/>
            <a:ext cx="2049105" cy="1202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18898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2604910" y="2267024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4382" y="469687"/>
            <a:ext cx="5539619" cy="3966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304705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00530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1598402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68522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110699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00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7261270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8209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5756282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maincadr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3946" y="668868"/>
            <a:ext cx="3500054" cy="2042256"/>
          </a:xfrm>
          <a:prstGeom prst="rect">
            <a:avLst/>
          </a:prstGeom>
        </p:spPr>
      </p:pic>
      <p:pic>
        <p:nvPicPr>
          <p:cNvPr id="3" name="Image 2" descr="maincadre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370673"/>
            <a:ext cx="3386571" cy="2547558"/>
          </a:xfrm>
          <a:prstGeom prst="rect">
            <a:avLst/>
          </a:prstGeom>
        </p:spPr>
      </p:pic>
      <p:sp>
        <p:nvSpPr>
          <p:cNvPr id="8" name="Titre 1"/>
          <p:cNvSpPr>
            <a:spLocks noGrp="1"/>
          </p:cNvSpPr>
          <p:nvPr>
            <p:ph type="ctrTitle" hasCustomPrompt="1"/>
          </p:nvPr>
        </p:nvSpPr>
        <p:spPr>
          <a:xfrm>
            <a:off x="2596444" y="2058385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10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55455220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13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07847" y="4038680"/>
            <a:ext cx="2049105" cy="1202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2310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contenu simple (ble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843148" y="655309"/>
            <a:ext cx="7965127" cy="4102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fr-FR" sz="1200" b="0" i="1" cap="small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en-US"/>
              <a:t>Sous-</a:t>
            </a:r>
            <a:r>
              <a:rPr lang="en-US" err="1"/>
              <a:t>titre</a:t>
            </a:r>
            <a:r>
              <a:rPr lang="en-US"/>
              <a:t> </a:t>
            </a:r>
            <a:r>
              <a:rPr lang="en-US" err="1"/>
              <a:t>ici</a:t>
            </a:r>
            <a:endParaRPr lang="en-US"/>
          </a:p>
        </p:txBody>
      </p:sp>
      <p:sp>
        <p:nvSpPr>
          <p:cNvPr id="14" name="Rectangle 4"/>
          <p:cNvSpPr/>
          <p:nvPr/>
        </p:nvSpPr>
        <p:spPr>
          <a:xfrm>
            <a:off x="0" y="-892"/>
            <a:ext cx="760151" cy="2146991"/>
          </a:xfrm>
          <a:custGeom>
            <a:avLst/>
            <a:gdLst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1330960 w 1330960"/>
              <a:gd name="connsiteY2" fmla="*/ 3759199 h 3759199"/>
              <a:gd name="connsiteX3" fmla="*/ 0 w 1330960"/>
              <a:gd name="connsiteY3" fmla="*/ 3759199 h 3759199"/>
              <a:gd name="connsiteX4" fmla="*/ 0 w 1330960"/>
              <a:gd name="connsiteY4" fmla="*/ 0 h 3759199"/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0 w 1330960"/>
              <a:gd name="connsiteY2" fmla="*/ 3759199 h 3759199"/>
              <a:gd name="connsiteX3" fmla="*/ 0 w 1330960"/>
              <a:gd name="connsiteY3" fmla="*/ 0 h 375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0960" h="3759199">
                <a:moveTo>
                  <a:pt x="0" y="0"/>
                </a:moveTo>
                <a:lnTo>
                  <a:pt x="1330960" y="0"/>
                </a:lnTo>
                <a:lnTo>
                  <a:pt x="0" y="3759199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30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80075" y="1330455"/>
            <a:ext cx="8443291" cy="3308219"/>
          </a:xfrm>
          <a:prstGeom prst="rect">
            <a:avLst/>
          </a:prstGeom>
        </p:spPr>
        <p:txBody>
          <a:bodyPr>
            <a:normAutofit/>
          </a:bodyPr>
          <a:lstStyle>
            <a:lvl1pPr marL="252413" indent="-252413">
              <a:buClr>
                <a:schemeClr val="bg2"/>
              </a:buClr>
              <a:buFontTx/>
              <a:buBlip>
                <a:blip r:embed="rId2"/>
              </a:buBlip>
              <a:defRPr sz="18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25475" indent="-266700">
              <a:buClr>
                <a:schemeClr val="tx2"/>
              </a:buClr>
              <a:buSzPct val="80000"/>
              <a:buFont typeface="Wingdings 3" panose="05040102010807070707" pitchFamily="18" charset="2"/>
              <a:buChar char=""/>
              <a:defRPr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98525" indent="-273050">
              <a:buClr>
                <a:schemeClr val="accent2"/>
              </a:buClr>
              <a:buFont typeface="Arial" panose="020B0604020202020204" pitchFamily="34" charset="0"/>
              <a:buChar char="•"/>
              <a:defRPr sz="1600" i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Michelin" pitchFamily="50" charset="0"/>
              </a:defRPr>
            </a:lvl4pPr>
            <a:lvl5pPr>
              <a:defRPr>
                <a:latin typeface="Michelin" pitchFamily="50" charset="0"/>
              </a:defRPr>
            </a:lvl5pPr>
          </a:lstStyle>
          <a:p>
            <a:pPr lvl="0"/>
            <a:r>
              <a:rPr lang="en-US" noProof="0"/>
              <a:t>Cliquer pour modifier les styles du </a:t>
            </a:r>
            <a:r>
              <a:rPr lang="en-US" noProof="0" err="1"/>
              <a:t>texte</a:t>
            </a:r>
            <a:r>
              <a:rPr lang="en-US" noProof="0"/>
              <a:t> du masque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2"/>
            <a:r>
              <a:rPr lang="en-US" noProof="0" err="1"/>
              <a:t>Trois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31" name="Titre 1"/>
          <p:cNvSpPr>
            <a:spLocks noGrp="1"/>
          </p:cNvSpPr>
          <p:nvPr>
            <p:ph type="title" hasCustomPrompt="1"/>
          </p:nvPr>
        </p:nvSpPr>
        <p:spPr>
          <a:xfrm>
            <a:off x="828000" y="72000"/>
            <a:ext cx="7983491" cy="56838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800" b="1" i="0" cap="small" baseline="0">
                <a:solidFill>
                  <a:srgbClr val="D327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Titre</a:t>
            </a:r>
            <a:r>
              <a:rPr lang="en-US"/>
              <a:t> de la page</a:t>
            </a:r>
          </a:p>
        </p:txBody>
      </p:sp>
      <p:pic>
        <p:nvPicPr>
          <p:cNvPr id="7" name="Picture 3" descr="C:\Users\F299251\Documents\DGSI\LOGO\dgsi_2016-CMJN-FR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78140" y="4600563"/>
            <a:ext cx="1160047" cy="540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 bwMode="auto">
          <a:xfrm>
            <a:off x="380075" y="4903559"/>
            <a:ext cx="536400" cy="1836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FF6600"/>
              </a:buClr>
              <a:buSzTx/>
              <a:buFont typeface="Wingdings" pitchFamily="2" charset="2"/>
              <a:buNone/>
              <a:tabLst/>
            </a:pPr>
            <a:fld id="{597A8DCA-8F96-49CD-B4D5-7AC92F955860}" type="slidenum">
              <a:rPr kumimoji="0" lang="en-US" sz="600" u="none" strike="noStrike" kern="1200" cap="none" normalizeH="0" baseline="0" smtClean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F6600"/>
                </a:buClr>
                <a:buSzTx/>
                <a:buFont typeface="Wingdings" pitchFamily="2" charset="2"/>
                <a:buNone/>
                <a:tabLst/>
              </a:pPr>
              <a:t>‹N°›</a:t>
            </a:fld>
            <a:endParaRPr kumimoji="0" lang="en-US" sz="600" u="none" strike="noStrike" kern="1200" cap="none" normalizeH="0" baseline="0">
              <a:ln>
                <a:noFill/>
              </a:ln>
              <a:solidFill>
                <a:schemeClr val="accent1">
                  <a:lumMod val="60000"/>
                  <a:lumOff val="40000"/>
                </a:schemeClr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45030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7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6754514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84387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72289809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contenu simple (ble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843148" y="655309"/>
            <a:ext cx="7965127" cy="4102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fr-FR" sz="1200" b="0" i="1" cap="small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en-US"/>
              <a:t>Sous-</a:t>
            </a:r>
            <a:r>
              <a:rPr lang="en-US" err="1"/>
              <a:t>titre</a:t>
            </a:r>
            <a:r>
              <a:rPr lang="en-US"/>
              <a:t> </a:t>
            </a:r>
            <a:r>
              <a:rPr lang="en-US" err="1"/>
              <a:t>ici</a:t>
            </a:r>
            <a:endParaRPr lang="en-US"/>
          </a:p>
        </p:txBody>
      </p:sp>
      <p:sp>
        <p:nvSpPr>
          <p:cNvPr id="14" name="Rectangle 4"/>
          <p:cNvSpPr/>
          <p:nvPr/>
        </p:nvSpPr>
        <p:spPr>
          <a:xfrm>
            <a:off x="0" y="-892"/>
            <a:ext cx="760151" cy="2146991"/>
          </a:xfrm>
          <a:custGeom>
            <a:avLst/>
            <a:gdLst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1330960 w 1330960"/>
              <a:gd name="connsiteY2" fmla="*/ 3759199 h 3759199"/>
              <a:gd name="connsiteX3" fmla="*/ 0 w 1330960"/>
              <a:gd name="connsiteY3" fmla="*/ 3759199 h 3759199"/>
              <a:gd name="connsiteX4" fmla="*/ 0 w 1330960"/>
              <a:gd name="connsiteY4" fmla="*/ 0 h 3759199"/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0 w 1330960"/>
              <a:gd name="connsiteY2" fmla="*/ 3759199 h 3759199"/>
              <a:gd name="connsiteX3" fmla="*/ 0 w 1330960"/>
              <a:gd name="connsiteY3" fmla="*/ 0 h 375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0960" h="3759199">
                <a:moveTo>
                  <a:pt x="0" y="0"/>
                </a:moveTo>
                <a:lnTo>
                  <a:pt x="1330960" y="0"/>
                </a:lnTo>
                <a:lnTo>
                  <a:pt x="0" y="3759199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30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80075" y="1330455"/>
            <a:ext cx="8443291" cy="3308219"/>
          </a:xfrm>
          <a:prstGeom prst="rect">
            <a:avLst/>
          </a:prstGeom>
        </p:spPr>
        <p:txBody>
          <a:bodyPr>
            <a:normAutofit/>
          </a:bodyPr>
          <a:lstStyle>
            <a:lvl1pPr marL="252413" indent="-252413">
              <a:buClr>
                <a:schemeClr val="bg2"/>
              </a:buClr>
              <a:buFontTx/>
              <a:buBlip>
                <a:blip r:embed="rId2"/>
              </a:buBlip>
              <a:defRPr sz="18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25475" indent="-266700">
              <a:buClr>
                <a:schemeClr val="tx2"/>
              </a:buClr>
              <a:buSzPct val="80000"/>
              <a:buFont typeface="Wingdings 3" panose="05040102010807070707" pitchFamily="18" charset="2"/>
              <a:buChar char=""/>
              <a:defRPr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98525" indent="-273050">
              <a:buClr>
                <a:schemeClr val="accent2"/>
              </a:buClr>
              <a:buFont typeface="Arial" panose="020B0604020202020204" pitchFamily="34" charset="0"/>
              <a:buChar char="•"/>
              <a:defRPr sz="1600" i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Michelin" pitchFamily="50" charset="0"/>
              </a:defRPr>
            </a:lvl4pPr>
            <a:lvl5pPr>
              <a:defRPr>
                <a:latin typeface="Michelin" pitchFamily="50" charset="0"/>
              </a:defRPr>
            </a:lvl5pPr>
          </a:lstStyle>
          <a:p>
            <a:pPr lvl="0"/>
            <a:r>
              <a:rPr lang="en-US" noProof="0"/>
              <a:t>Cliquer pour modifier les styles du </a:t>
            </a:r>
            <a:r>
              <a:rPr lang="en-US" noProof="0" err="1"/>
              <a:t>texte</a:t>
            </a:r>
            <a:r>
              <a:rPr lang="en-US" noProof="0"/>
              <a:t> du masque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2"/>
            <a:r>
              <a:rPr lang="en-US" noProof="0" err="1"/>
              <a:t>Trois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31" name="Titre 1"/>
          <p:cNvSpPr>
            <a:spLocks noGrp="1"/>
          </p:cNvSpPr>
          <p:nvPr>
            <p:ph type="title" hasCustomPrompt="1"/>
          </p:nvPr>
        </p:nvSpPr>
        <p:spPr>
          <a:xfrm>
            <a:off x="828000" y="72000"/>
            <a:ext cx="7983491" cy="56838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800" b="1" i="0" cap="small" baseline="0">
                <a:solidFill>
                  <a:srgbClr val="D327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Titre</a:t>
            </a:r>
            <a:r>
              <a:rPr lang="en-US"/>
              <a:t> de la page</a:t>
            </a:r>
          </a:p>
        </p:txBody>
      </p:sp>
      <p:pic>
        <p:nvPicPr>
          <p:cNvPr id="7" name="Picture 3" descr="C:\Users\F299251\Documents\DGSI\LOGO\dgsi_2016-CMJN-FR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78140" y="4600563"/>
            <a:ext cx="1160047" cy="540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 bwMode="auto">
          <a:xfrm>
            <a:off x="380075" y="4903559"/>
            <a:ext cx="536400" cy="1836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FF6600"/>
              </a:buClr>
              <a:buSzTx/>
              <a:buFont typeface="Wingdings" pitchFamily="2" charset="2"/>
              <a:buNone/>
              <a:tabLst/>
            </a:pPr>
            <a:fld id="{597A8DCA-8F96-49CD-B4D5-7AC92F955860}" type="slidenum">
              <a:rPr kumimoji="0" lang="en-US" sz="600" u="none" strike="noStrike" kern="1200" cap="none" normalizeH="0" baseline="0" smtClean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F6600"/>
                </a:buClr>
                <a:buSzTx/>
                <a:buFont typeface="Wingdings" pitchFamily="2" charset="2"/>
                <a:buNone/>
                <a:tabLst/>
              </a:pPr>
              <a:t>‹N°›</a:t>
            </a:fld>
            <a:endParaRPr kumimoji="0" lang="en-US" sz="600" u="none" strike="noStrike" kern="1200" cap="none" normalizeH="0" baseline="0">
              <a:ln>
                <a:noFill/>
              </a:ln>
              <a:solidFill>
                <a:schemeClr val="accent1">
                  <a:lumMod val="60000"/>
                  <a:lumOff val="40000"/>
                </a:schemeClr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591478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5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73603915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387409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81811541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4D105E16-D5E1-4D64-AD26-C534546FB4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5C347C-3775-4079-AA1B-58FA31717E2C}" type="datetimeFigureOut">
              <a:rPr lang="fr-FR"/>
              <a:pPr>
                <a:defRPr/>
              </a:pPr>
              <a:t>15/12/2020</a:t>
            </a:fld>
            <a:endParaRPr lang="fr-FR"/>
          </a:p>
        </p:txBody>
      </p:sp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3339C858-0B98-4BF3-A6B8-50A17A41E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537F054D-EF34-49E3-BB68-1F0007ECE7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96B4C0-53F4-4027-BC6F-53D040BDEC7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388730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3344331" cy="5143500"/>
          </a:xfrm>
          <a:prstGeom prst="rect">
            <a:avLst/>
          </a:prstGeom>
        </p:spPr>
      </p:pic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4044244" y="2058385"/>
            <a:ext cx="3951112" cy="1120244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8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59366676"/>
              </p:ext>
            </p:extLst>
          </p:nvPr>
        </p:nvGraphicFramePr>
        <p:xfrm>
          <a:off x="-1" y="4970026"/>
          <a:ext cx="6604001" cy="180044"/>
        </p:xfrm>
        <a:graphic>
          <a:graphicData uri="http://schemas.openxmlformats.org/drawingml/2006/table">
            <a:tbl>
              <a:tblPr/>
              <a:tblGrid>
                <a:gridCol w="24699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74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8096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6344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BFBFB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BFBFB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9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72310" y="157119"/>
            <a:ext cx="2215108" cy="1300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81141" y="423189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52139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1980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23944539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7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09729" y="-109728"/>
            <a:ext cx="2073275" cy="107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488116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8631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23944539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7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09729" y="-109728"/>
            <a:ext cx="2073275" cy="107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099617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160513_mains_bibcoeur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2455331" y="1927844"/>
            <a:ext cx="4114800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6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25476339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09729" y="-110363"/>
            <a:ext cx="2073275" cy="107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228924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S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4891"/>
          </a:p>
        </p:txBody>
      </p:sp>
    </p:spTree>
    <p:extLst>
      <p:ext uri="{BB962C8B-B14F-4D97-AF65-F5344CB8AC3E}">
        <p14:creationId xmlns:p14="http://schemas.microsoft.com/office/powerpoint/2010/main" val="41402843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48"/>
          <a:stretch/>
        </p:blipFill>
        <p:spPr>
          <a:xfrm>
            <a:off x="0" y="0"/>
            <a:ext cx="308729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93675" y="4031358"/>
            <a:ext cx="1813463" cy="938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571287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image" Target="../media/image15.emf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13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12.xml"/><Relationship Id="rId9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18.xml"/><Relationship Id="rId7" Type="http://schemas.openxmlformats.org/officeDocument/2006/relationships/vmlDrawing" Target="../drawings/vmlDrawing3.v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9.xml"/><Relationship Id="rId9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slideLayout" Target="../slideLayouts/slideLayout23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tags" Target="../tags/tag6.xml"/><Relationship Id="rId5" Type="http://schemas.openxmlformats.org/officeDocument/2006/relationships/vmlDrawing" Target="../drawings/vmlDrawing5.v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6.xml"/><Relationship Id="rId7" Type="http://schemas.openxmlformats.org/officeDocument/2006/relationships/oleObject" Target="../embeddings/oleObject6.bin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tags" Target="../tags/tag7.xml"/><Relationship Id="rId5" Type="http://schemas.openxmlformats.org/officeDocument/2006/relationships/vmlDrawing" Target="../drawings/vmlDrawing6.vml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slideLayout" Target="../slideLayouts/slideLayout29.xml"/><Relationship Id="rId7" Type="http://schemas.openxmlformats.org/officeDocument/2006/relationships/tags" Target="../tags/tag9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vmlDrawing" Target="../drawings/vmlDrawing8.v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30.xml"/><Relationship Id="rId9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slideLayout" Target="../slideLayouts/slideLayout33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vmlDrawing" Target="../drawings/vmlDrawing10.v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34.xml"/><Relationship Id="rId9" Type="http://schemas.openxmlformats.org/officeDocument/2006/relationships/image" Target="../media/image1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slideLayout" Target="../slideLayouts/slideLayout37.xml"/><Relationship Id="rId7" Type="http://schemas.openxmlformats.org/officeDocument/2006/relationships/tags" Target="../tags/tag13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vmlDrawing" Target="../drawings/vmlDrawing12.vml"/><Relationship Id="rId5" Type="http://schemas.openxmlformats.org/officeDocument/2006/relationships/theme" Target="../theme/theme8.xml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1077962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Diapositive think-cell" r:id="rId12" imgW="270" imgH="270" progId="TCLayout.ActiveDocument.1">
                  <p:embed/>
                </p:oleObj>
              </mc:Choice>
              <mc:Fallback>
                <p:oleObj name="Diapositive think-cell" r:id="rId12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410137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731" r:id="rId8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45B3D423-6E64-754A-9194-0921FE139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0841080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1" name="Diapositive think-cell" r:id="rId11" imgW="7772400" imgH="10058400" progId="TCLayout.ActiveDocument.1">
                  <p:embed/>
                </p:oleObj>
              </mc:Choice>
              <mc:Fallback>
                <p:oleObj name="Diapositive think-cell" r:id="rId11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50586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5731568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Diapositive think-cell" r:id="rId9" imgW="270" imgH="270" progId="TCLayout.ActiveDocument.1">
                  <p:embed/>
                </p:oleObj>
              </mc:Choice>
              <mc:Fallback>
                <p:oleObj name="Diapositive think-cell" r:id="rId9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68572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732" r:id="rId4"/>
    <p:sldLayoutId id="2147483713" r:id="rId5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F2E392D7-7FCE-7249-8D17-8B64258F40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6774271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5" name="Diapositive think-cell" r:id="rId7" imgW="7772400" imgH="10058400" progId="TCLayout.ActiveDocument.1">
                  <p:embed/>
                </p:oleObj>
              </mc:Choice>
              <mc:Fallback>
                <p:oleObj name="Diapositive think-cell" r:id="rId7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551747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97" r:id="rId2"/>
    <p:sldLayoutId id="2147483693" r:id="rId3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4190980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Diapositive think-cell" r:id="rId7" imgW="270" imgH="270" progId="TCLayout.ActiveDocument.1">
                  <p:embed/>
                </p:oleObj>
              </mc:Choice>
              <mc:Fallback>
                <p:oleObj name="Diapositive think-cell" r:id="rId7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37524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8989842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"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68572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056647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"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30847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2019047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1"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77773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35" r:id="rId4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25.svg"/><Relationship Id="rId12" Type="http://schemas.openxmlformats.org/officeDocument/2006/relationships/image" Target="../media/image30.sv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5" Type="http://schemas.openxmlformats.org/officeDocument/2006/relationships/image" Target="../media/image23.emf"/><Relationship Id="rId10" Type="http://schemas.openxmlformats.org/officeDocument/2006/relationships/image" Target="../media/image28.sv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t 17" hidden="1">
            <a:extLst>
              <a:ext uri="{FF2B5EF4-FFF2-40B4-BE49-F238E27FC236}">
                <a16:creationId xmlns:a16="http://schemas.microsoft.com/office/drawing/2014/main" id="{FC434811-2158-D34C-8A08-D645E883CD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435482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1" name="Diapositive think-cell" r:id="rId4" imgW="7772400" imgH="10058400" progId="TCLayout.ActiveDocument.1">
                  <p:embed/>
                </p:oleObj>
              </mc:Choice>
              <mc:Fallback>
                <p:oleObj name="Diapositiv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ZoneTexte 5">
            <a:extLst>
              <a:ext uri="{FF2B5EF4-FFF2-40B4-BE49-F238E27FC236}">
                <a16:creationId xmlns:a16="http://schemas.microsoft.com/office/drawing/2014/main" id="{CEDE2874-BC1C-45D0-9476-1BA243F72CD4}"/>
              </a:ext>
            </a:extLst>
          </p:cNvPr>
          <p:cNvSpPr txBox="1"/>
          <p:nvPr/>
        </p:nvSpPr>
        <p:spPr>
          <a:xfrm>
            <a:off x="143895" y="67121"/>
            <a:ext cx="35125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1751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Michelin Black" panose="02000000000000000000" pitchFamily="2" charset="0"/>
                <a:cs typeface="Aharoni" panose="02010803020104030203" pitchFamily="2" charset="-79"/>
              </a:rPr>
              <a:t>PRODUCT LIFE CYCLE</a:t>
            </a:r>
          </a:p>
        </p:txBody>
      </p:sp>
      <p:grpSp>
        <p:nvGrpSpPr>
          <p:cNvPr id="12" name="Groupe 11">
            <a:extLst>
              <a:ext uri="{FF2B5EF4-FFF2-40B4-BE49-F238E27FC236}">
                <a16:creationId xmlns:a16="http://schemas.microsoft.com/office/drawing/2014/main" id="{257FB4BF-E099-4F59-98D2-580D0D57DFAB}"/>
              </a:ext>
            </a:extLst>
          </p:cNvPr>
          <p:cNvGrpSpPr/>
          <p:nvPr/>
        </p:nvGrpSpPr>
        <p:grpSpPr>
          <a:xfrm>
            <a:off x="5957321" y="67121"/>
            <a:ext cx="3164113" cy="836038"/>
            <a:chOff x="3489324" y="450850"/>
            <a:chExt cx="1509088" cy="447675"/>
          </a:xfrm>
        </p:grpSpPr>
        <p:pic>
          <p:nvPicPr>
            <p:cNvPr id="9" name="Graphique 8">
              <a:extLst>
                <a:ext uri="{FF2B5EF4-FFF2-40B4-BE49-F238E27FC236}">
                  <a16:creationId xmlns:a16="http://schemas.microsoft.com/office/drawing/2014/main" id="{A0FD3888-D1EB-4E8E-B838-C0894CA26D8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l="4981" t="43049" r="85536" b="40845"/>
            <a:stretch/>
          </p:blipFill>
          <p:spPr>
            <a:xfrm>
              <a:off x="3489324" y="450850"/>
              <a:ext cx="854075" cy="447675"/>
            </a:xfrm>
            <a:prstGeom prst="rect">
              <a:avLst/>
            </a:prstGeom>
          </p:spPr>
        </p:pic>
        <p:pic>
          <p:nvPicPr>
            <p:cNvPr id="11" name="Graphique 10">
              <a:extLst>
                <a:ext uri="{FF2B5EF4-FFF2-40B4-BE49-F238E27FC236}">
                  <a16:creationId xmlns:a16="http://schemas.microsoft.com/office/drawing/2014/main" id="{7A93A71D-E842-445A-B130-B8C3109E901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l="88372" t="43507" r="3628" b="42385"/>
            <a:stretch/>
          </p:blipFill>
          <p:spPr>
            <a:xfrm>
              <a:off x="4277914" y="459184"/>
              <a:ext cx="720498" cy="392114"/>
            </a:xfrm>
            <a:prstGeom prst="rect">
              <a:avLst/>
            </a:prstGeom>
          </p:spPr>
        </p:pic>
      </p:grpSp>
      <p:sp>
        <p:nvSpPr>
          <p:cNvPr id="10" name="ZoneTexte 9">
            <a:extLst>
              <a:ext uri="{FF2B5EF4-FFF2-40B4-BE49-F238E27FC236}">
                <a16:creationId xmlns:a16="http://schemas.microsoft.com/office/drawing/2014/main" id="{D7B1AB73-4CA8-42BB-A17B-2896C15D97E4}"/>
              </a:ext>
            </a:extLst>
          </p:cNvPr>
          <p:cNvSpPr txBox="1"/>
          <p:nvPr/>
        </p:nvSpPr>
        <p:spPr>
          <a:xfrm>
            <a:off x="2906370" y="4474118"/>
            <a:ext cx="4943475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2400" b="1" dirty="0">
                <a:solidFill>
                  <a:srgbClr val="85BC25"/>
                </a:solidFill>
                <a:latin typeface="Gotham Rounded Bold" pitchFamily="50" charset="0"/>
              </a:rPr>
              <a:t>FROM IDEA TO RETIREMENT</a:t>
            </a:r>
          </a:p>
        </p:txBody>
      </p:sp>
      <p:pic>
        <p:nvPicPr>
          <p:cNvPr id="32" name="Image 31">
            <a:extLst>
              <a:ext uri="{FF2B5EF4-FFF2-40B4-BE49-F238E27FC236}">
                <a16:creationId xmlns:a16="http://schemas.microsoft.com/office/drawing/2014/main" id="{EBF7A336-4192-40DA-88C0-6B6254773E0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943" y="4608217"/>
            <a:ext cx="1105750" cy="448043"/>
          </a:xfrm>
          <a:prstGeom prst="rect">
            <a:avLst/>
          </a:prstGeom>
        </p:spPr>
      </p:pic>
      <p:pic>
        <p:nvPicPr>
          <p:cNvPr id="34" name="Graphique 33">
            <a:extLst>
              <a:ext uri="{FF2B5EF4-FFF2-40B4-BE49-F238E27FC236}">
                <a16:creationId xmlns:a16="http://schemas.microsoft.com/office/drawing/2014/main" id="{5A740329-9CB3-4B17-8447-4CB8CB0A780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779198" y="4970951"/>
            <a:ext cx="364802" cy="170619"/>
          </a:xfrm>
          <a:prstGeom prst="rect">
            <a:avLst/>
          </a:prstGeom>
        </p:spPr>
      </p:pic>
      <p:sp>
        <p:nvSpPr>
          <p:cNvPr id="22" name="ZoneTexte 21">
            <a:extLst>
              <a:ext uri="{FF2B5EF4-FFF2-40B4-BE49-F238E27FC236}">
                <a16:creationId xmlns:a16="http://schemas.microsoft.com/office/drawing/2014/main" id="{0409C305-8E25-7144-A867-6F7324F0C71E}"/>
              </a:ext>
            </a:extLst>
          </p:cNvPr>
          <p:cNvSpPr txBox="1"/>
          <p:nvPr/>
        </p:nvSpPr>
        <p:spPr>
          <a:xfrm>
            <a:off x="1658379" y="3498293"/>
            <a:ext cx="14400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800" b="1" dirty="0">
                <a:solidFill>
                  <a:srgbClr val="27509B"/>
                </a:solidFill>
                <a:latin typeface="Michelin SemiBold" panose="02000000000000000000" pitchFamily="2" charset="0"/>
              </a:rPr>
              <a:t>Search &amp; Design</a:t>
            </a:r>
          </a:p>
          <a:p>
            <a:r>
              <a:rPr lang="en-US" sz="10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lore</a:t>
            </a: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B789EA23-0FCE-E544-BFAA-A58C06E8F2BE}"/>
              </a:ext>
            </a:extLst>
          </p:cNvPr>
          <p:cNvSpPr txBox="1"/>
          <p:nvPr/>
        </p:nvSpPr>
        <p:spPr>
          <a:xfrm>
            <a:off x="3482201" y="3498293"/>
            <a:ext cx="14400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800" b="1" dirty="0">
                <a:solidFill>
                  <a:srgbClr val="27509B"/>
                </a:solidFill>
                <a:latin typeface="Michelin SemiBold" panose="02000000000000000000" pitchFamily="2" charset="0"/>
              </a:rPr>
              <a:t>Growth</a:t>
            </a:r>
          </a:p>
          <a:p>
            <a:r>
              <a:rPr lang="en-US" sz="10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loit</a:t>
            </a:r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id="{6C428F77-4792-9E4C-813B-6E7D535DF37E}"/>
              </a:ext>
            </a:extLst>
          </p:cNvPr>
          <p:cNvSpPr txBox="1"/>
          <p:nvPr/>
        </p:nvSpPr>
        <p:spPr>
          <a:xfrm>
            <a:off x="5306023" y="3498293"/>
            <a:ext cx="14400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800" b="1" dirty="0">
                <a:solidFill>
                  <a:srgbClr val="27509B"/>
                </a:solidFill>
                <a:latin typeface="Michelin SemiBold" panose="02000000000000000000" pitchFamily="2" charset="0"/>
              </a:rPr>
              <a:t>Maturity</a:t>
            </a:r>
          </a:p>
          <a:p>
            <a:r>
              <a:rPr lang="en-US" sz="10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ustain</a:t>
            </a:r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id="{5638AF55-126C-D946-A71F-0204634FC9FE}"/>
              </a:ext>
            </a:extLst>
          </p:cNvPr>
          <p:cNvSpPr txBox="1"/>
          <p:nvPr/>
        </p:nvSpPr>
        <p:spPr>
          <a:xfrm>
            <a:off x="7129845" y="3498293"/>
            <a:ext cx="14400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800" b="1" dirty="0">
                <a:solidFill>
                  <a:srgbClr val="27509B"/>
                </a:solidFill>
                <a:latin typeface="Michelin SemiBold" panose="02000000000000000000" pitchFamily="2" charset="0"/>
              </a:rPr>
              <a:t>Decline</a:t>
            </a:r>
          </a:p>
          <a:p>
            <a:r>
              <a:rPr lang="en-US" sz="10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tire</a:t>
            </a:r>
          </a:p>
        </p:txBody>
      </p:sp>
      <p:sp>
        <p:nvSpPr>
          <p:cNvPr id="24" name="Forme libre 23">
            <a:extLst>
              <a:ext uri="{FF2B5EF4-FFF2-40B4-BE49-F238E27FC236}">
                <a16:creationId xmlns:a16="http://schemas.microsoft.com/office/drawing/2014/main" id="{DEE3D7BF-F431-0847-88BD-5720E76818AF}"/>
              </a:ext>
            </a:extLst>
          </p:cNvPr>
          <p:cNvSpPr/>
          <p:nvPr/>
        </p:nvSpPr>
        <p:spPr>
          <a:xfrm>
            <a:off x="1313296" y="3124616"/>
            <a:ext cx="7321731" cy="1163917"/>
          </a:xfrm>
          <a:custGeom>
            <a:avLst/>
            <a:gdLst>
              <a:gd name="connsiteX0" fmla="*/ 0 w 6348549"/>
              <a:gd name="connsiteY0" fmla="*/ 1137792 h 1137792"/>
              <a:gd name="connsiteX1" fmla="*/ 894806 w 6348549"/>
              <a:gd name="connsiteY1" fmla="*/ 811221 h 1137792"/>
              <a:gd name="connsiteX2" fmla="*/ 1410789 w 6348549"/>
              <a:gd name="connsiteY2" fmla="*/ 438929 h 1137792"/>
              <a:gd name="connsiteX3" fmla="*/ 1867989 w 6348549"/>
              <a:gd name="connsiteY3" fmla="*/ 112358 h 1137792"/>
              <a:gd name="connsiteX4" fmla="*/ 2488474 w 6348549"/>
              <a:gd name="connsiteY4" fmla="*/ 1324 h 1137792"/>
              <a:gd name="connsiteX5" fmla="*/ 3696789 w 6348549"/>
              <a:gd name="connsiteY5" fmla="*/ 60107 h 1137792"/>
              <a:gd name="connsiteX6" fmla="*/ 4545874 w 6348549"/>
              <a:gd name="connsiteY6" fmla="*/ 190735 h 1137792"/>
              <a:gd name="connsiteX7" fmla="*/ 4963886 w 6348549"/>
              <a:gd name="connsiteY7" fmla="*/ 451992 h 1137792"/>
              <a:gd name="connsiteX8" fmla="*/ 5257800 w 6348549"/>
              <a:gd name="connsiteY8" fmla="*/ 785095 h 1137792"/>
              <a:gd name="connsiteX9" fmla="*/ 5492932 w 6348549"/>
              <a:gd name="connsiteY9" fmla="*/ 961444 h 1137792"/>
              <a:gd name="connsiteX10" fmla="*/ 6348549 w 6348549"/>
              <a:gd name="connsiteY10" fmla="*/ 1085541 h 1137792"/>
              <a:gd name="connsiteX0" fmla="*/ 0 w 6897189"/>
              <a:gd name="connsiteY0" fmla="*/ 1163917 h 1163917"/>
              <a:gd name="connsiteX1" fmla="*/ 1443446 w 6897189"/>
              <a:gd name="connsiteY1" fmla="*/ 811221 h 1163917"/>
              <a:gd name="connsiteX2" fmla="*/ 1959429 w 6897189"/>
              <a:gd name="connsiteY2" fmla="*/ 438929 h 1163917"/>
              <a:gd name="connsiteX3" fmla="*/ 2416629 w 6897189"/>
              <a:gd name="connsiteY3" fmla="*/ 112358 h 1163917"/>
              <a:gd name="connsiteX4" fmla="*/ 3037114 w 6897189"/>
              <a:gd name="connsiteY4" fmla="*/ 1324 h 1163917"/>
              <a:gd name="connsiteX5" fmla="*/ 4245429 w 6897189"/>
              <a:gd name="connsiteY5" fmla="*/ 60107 h 1163917"/>
              <a:gd name="connsiteX6" fmla="*/ 5094514 w 6897189"/>
              <a:gd name="connsiteY6" fmla="*/ 190735 h 1163917"/>
              <a:gd name="connsiteX7" fmla="*/ 5512526 w 6897189"/>
              <a:gd name="connsiteY7" fmla="*/ 451992 h 1163917"/>
              <a:gd name="connsiteX8" fmla="*/ 5806440 w 6897189"/>
              <a:gd name="connsiteY8" fmla="*/ 785095 h 1163917"/>
              <a:gd name="connsiteX9" fmla="*/ 6041572 w 6897189"/>
              <a:gd name="connsiteY9" fmla="*/ 961444 h 1163917"/>
              <a:gd name="connsiteX10" fmla="*/ 6897189 w 6897189"/>
              <a:gd name="connsiteY10" fmla="*/ 1085541 h 1163917"/>
              <a:gd name="connsiteX0" fmla="*/ 0 w 6897189"/>
              <a:gd name="connsiteY0" fmla="*/ 1163917 h 1163917"/>
              <a:gd name="connsiteX1" fmla="*/ 1502229 w 6897189"/>
              <a:gd name="connsiteY1" fmla="*/ 981038 h 1163917"/>
              <a:gd name="connsiteX2" fmla="*/ 1959429 w 6897189"/>
              <a:gd name="connsiteY2" fmla="*/ 438929 h 1163917"/>
              <a:gd name="connsiteX3" fmla="*/ 2416629 w 6897189"/>
              <a:gd name="connsiteY3" fmla="*/ 112358 h 1163917"/>
              <a:gd name="connsiteX4" fmla="*/ 3037114 w 6897189"/>
              <a:gd name="connsiteY4" fmla="*/ 1324 h 1163917"/>
              <a:gd name="connsiteX5" fmla="*/ 4245429 w 6897189"/>
              <a:gd name="connsiteY5" fmla="*/ 60107 h 1163917"/>
              <a:gd name="connsiteX6" fmla="*/ 5094514 w 6897189"/>
              <a:gd name="connsiteY6" fmla="*/ 190735 h 1163917"/>
              <a:gd name="connsiteX7" fmla="*/ 5512526 w 6897189"/>
              <a:gd name="connsiteY7" fmla="*/ 451992 h 1163917"/>
              <a:gd name="connsiteX8" fmla="*/ 5806440 w 6897189"/>
              <a:gd name="connsiteY8" fmla="*/ 785095 h 1163917"/>
              <a:gd name="connsiteX9" fmla="*/ 6041572 w 6897189"/>
              <a:gd name="connsiteY9" fmla="*/ 961444 h 1163917"/>
              <a:gd name="connsiteX10" fmla="*/ 6897189 w 6897189"/>
              <a:gd name="connsiteY10" fmla="*/ 1085541 h 1163917"/>
              <a:gd name="connsiteX0" fmla="*/ 0 w 6897189"/>
              <a:gd name="connsiteY0" fmla="*/ 1163917 h 1163917"/>
              <a:gd name="connsiteX1" fmla="*/ 519525 w 6897189"/>
              <a:gd name="connsiteY1" fmla="*/ 1083656 h 1163917"/>
              <a:gd name="connsiteX2" fmla="*/ 1502229 w 6897189"/>
              <a:gd name="connsiteY2" fmla="*/ 981038 h 1163917"/>
              <a:gd name="connsiteX3" fmla="*/ 1959429 w 6897189"/>
              <a:gd name="connsiteY3" fmla="*/ 438929 h 1163917"/>
              <a:gd name="connsiteX4" fmla="*/ 2416629 w 6897189"/>
              <a:gd name="connsiteY4" fmla="*/ 112358 h 1163917"/>
              <a:gd name="connsiteX5" fmla="*/ 3037114 w 6897189"/>
              <a:gd name="connsiteY5" fmla="*/ 1324 h 1163917"/>
              <a:gd name="connsiteX6" fmla="*/ 4245429 w 6897189"/>
              <a:gd name="connsiteY6" fmla="*/ 60107 h 1163917"/>
              <a:gd name="connsiteX7" fmla="*/ 5094514 w 6897189"/>
              <a:gd name="connsiteY7" fmla="*/ 190735 h 1163917"/>
              <a:gd name="connsiteX8" fmla="*/ 5512526 w 6897189"/>
              <a:gd name="connsiteY8" fmla="*/ 451992 h 1163917"/>
              <a:gd name="connsiteX9" fmla="*/ 5806440 w 6897189"/>
              <a:gd name="connsiteY9" fmla="*/ 785095 h 1163917"/>
              <a:gd name="connsiteX10" fmla="*/ 6041572 w 6897189"/>
              <a:gd name="connsiteY10" fmla="*/ 961444 h 1163917"/>
              <a:gd name="connsiteX11" fmla="*/ 6897189 w 6897189"/>
              <a:gd name="connsiteY11" fmla="*/ 1085541 h 1163917"/>
              <a:gd name="connsiteX0" fmla="*/ 0 w 6897189"/>
              <a:gd name="connsiteY0" fmla="*/ 1163917 h 1163917"/>
              <a:gd name="connsiteX1" fmla="*/ 532588 w 6897189"/>
              <a:gd name="connsiteY1" fmla="*/ 1142438 h 1163917"/>
              <a:gd name="connsiteX2" fmla="*/ 1502229 w 6897189"/>
              <a:gd name="connsiteY2" fmla="*/ 981038 h 1163917"/>
              <a:gd name="connsiteX3" fmla="*/ 1959429 w 6897189"/>
              <a:gd name="connsiteY3" fmla="*/ 438929 h 1163917"/>
              <a:gd name="connsiteX4" fmla="*/ 2416629 w 6897189"/>
              <a:gd name="connsiteY4" fmla="*/ 112358 h 1163917"/>
              <a:gd name="connsiteX5" fmla="*/ 3037114 w 6897189"/>
              <a:gd name="connsiteY5" fmla="*/ 1324 h 1163917"/>
              <a:gd name="connsiteX6" fmla="*/ 4245429 w 6897189"/>
              <a:gd name="connsiteY6" fmla="*/ 60107 h 1163917"/>
              <a:gd name="connsiteX7" fmla="*/ 5094514 w 6897189"/>
              <a:gd name="connsiteY7" fmla="*/ 190735 h 1163917"/>
              <a:gd name="connsiteX8" fmla="*/ 5512526 w 6897189"/>
              <a:gd name="connsiteY8" fmla="*/ 451992 h 1163917"/>
              <a:gd name="connsiteX9" fmla="*/ 5806440 w 6897189"/>
              <a:gd name="connsiteY9" fmla="*/ 785095 h 1163917"/>
              <a:gd name="connsiteX10" fmla="*/ 6041572 w 6897189"/>
              <a:gd name="connsiteY10" fmla="*/ 961444 h 1163917"/>
              <a:gd name="connsiteX11" fmla="*/ 6897189 w 6897189"/>
              <a:gd name="connsiteY11" fmla="*/ 1085541 h 1163917"/>
              <a:gd name="connsiteX0" fmla="*/ 0 w 6897189"/>
              <a:gd name="connsiteY0" fmla="*/ 1163917 h 1163917"/>
              <a:gd name="connsiteX1" fmla="*/ 532588 w 6897189"/>
              <a:gd name="connsiteY1" fmla="*/ 1142438 h 1163917"/>
              <a:gd name="connsiteX2" fmla="*/ 917942 w 6897189"/>
              <a:gd name="connsiteY2" fmla="*/ 1103250 h 1163917"/>
              <a:gd name="connsiteX3" fmla="*/ 1502229 w 6897189"/>
              <a:gd name="connsiteY3" fmla="*/ 981038 h 1163917"/>
              <a:gd name="connsiteX4" fmla="*/ 1959429 w 6897189"/>
              <a:gd name="connsiteY4" fmla="*/ 438929 h 1163917"/>
              <a:gd name="connsiteX5" fmla="*/ 2416629 w 6897189"/>
              <a:gd name="connsiteY5" fmla="*/ 112358 h 1163917"/>
              <a:gd name="connsiteX6" fmla="*/ 3037114 w 6897189"/>
              <a:gd name="connsiteY6" fmla="*/ 1324 h 1163917"/>
              <a:gd name="connsiteX7" fmla="*/ 4245429 w 6897189"/>
              <a:gd name="connsiteY7" fmla="*/ 60107 h 1163917"/>
              <a:gd name="connsiteX8" fmla="*/ 5094514 w 6897189"/>
              <a:gd name="connsiteY8" fmla="*/ 190735 h 1163917"/>
              <a:gd name="connsiteX9" fmla="*/ 5512526 w 6897189"/>
              <a:gd name="connsiteY9" fmla="*/ 451992 h 1163917"/>
              <a:gd name="connsiteX10" fmla="*/ 5806440 w 6897189"/>
              <a:gd name="connsiteY10" fmla="*/ 785095 h 1163917"/>
              <a:gd name="connsiteX11" fmla="*/ 6041572 w 6897189"/>
              <a:gd name="connsiteY11" fmla="*/ 961444 h 1163917"/>
              <a:gd name="connsiteX12" fmla="*/ 6897189 w 6897189"/>
              <a:gd name="connsiteY12" fmla="*/ 1085541 h 1163917"/>
              <a:gd name="connsiteX0" fmla="*/ 0 w 6897189"/>
              <a:gd name="connsiteY0" fmla="*/ 1163917 h 1184435"/>
              <a:gd name="connsiteX1" fmla="*/ 558714 w 6897189"/>
              <a:gd name="connsiteY1" fmla="*/ 1175095 h 1184435"/>
              <a:gd name="connsiteX2" fmla="*/ 917942 w 6897189"/>
              <a:gd name="connsiteY2" fmla="*/ 1103250 h 1184435"/>
              <a:gd name="connsiteX3" fmla="*/ 1502229 w 6897189"/>
              <a:gd name="connsiteY3" fmla="*/ 981038 h 1184435"/>
              <a:gd name="connsiteX4" fmla="*/ 1959429 w 6897189"/>
              <a:gd name="connsiteY4" fmla="*/ 438929 h 1184435"/>
              <a:gd name="connsiteX5" fmla="*/ 2416629 w 6897189"/>
              <a:gd name="connsiteY5" fmla="*/ 112358 h 1184435"/>
              <a:gd name="connsiteX6" fmla="*/ 3037114 w 6897189"/>
              <a:gd name="connsiteY6" fmla="*/ 1324 h 1184435"/>
              <a:gd name="connsiteX7" fmla="*/ 4245429 w 6897189"/>
              <a:gd name="connsiteY7" fmla="*/ 60107 h 1184435"/>
              <a:gd name="connsiteX8" fmla="*/ 5094514 w 6897189"/>
              <a:gd name="connsiteY8" fmla="*/ 190735 h 1184435"/>
              <a:gd name="connsiteX9" fmla="*/ 5512526 w 6897189"/>
              <a:gd name="connsiteY9" fmla="*/ 451992 h 1184435"/>
              <a:gd name="connsiteX10" fmla="*/ 5806440 w 6897189"/>
              <a:gd name="connsiteY10" fmla="*/ 785095 h 1184435"/>
              <a:gd name="connsiteX11" fmla="*/ 6041572 w 6897189"/>
              <a:gd name="connsiteY11" fmla="*/ 961444 h 1184435"/>
              <a:gd name="connsiteX12" fmla="*/ 6897189 w 6897189"/>
              <a:gd name="connsiteY12" fmla="*/ 1085541 h 1184435"/>
              <a:gd name="connsiteX0" fmla="*/ 0 w 6897189"/>
              <a:gd name="connsiteY0" fmla="*/ 1163917 h 1163917"/>
              <a:gd name="connsiteX1" fmla="*/ 545652 w 6897189"/>
              <a:gd name="connsiteY1" fmla="*/ 1148969 h 1163917"/>
              <a:gd name="connsiteX2" fmla="*/ 917942 w 6897189"/>
              <a:gd name="connsiteY2" fmla="*/ 1103250 h 1163917"/>
              <a:gd name="connsiteX3" fmla="*/ 1502229 w 6897189"/>
              <a:gd name="connsiteY3" fmla="*/ 981038 h 1163917"/>
              <a:gd name="connsiteX4" fmla="*/ 1959429 w 6897189"/>
              <a:gd name="connsiteY4" fmla="*/ 438929 h 1163917"/>
              <a:gd name="connsiteX5" fmla="*/ 2416629 w 6897189"/>
              <a:gd name="connsiteY5" fmla="*/ 112358 h 1163917"/>
              <a:gd name="connsiteX6" fmla="*/ 3037114 w 6897189"/>
              <a:gd name="connsiteY6" fmla="*/ 1324 h 1163917"/>
              <a:gd name="connsiteX7" fmla="*/ 4245429 w 6897189"/>
              <a:gd name="connsiteY7" fmla="*/ 60107 h 1163917"/>
              <a:gd name="connsiteX8" fmla="*/ 5094514 w 6897189"/>
              <a:gd name="connsiteY8" fmla="*/ 190735 h 1163917"/>
              <a:gd name="connsiteX9" fmla="*/ 5512526 w 6897189"/>
              <a:gd name="connsiteY9" fmla="*/ 451992 h 1163917"/>
              <a:gd name="connsiteX10" fmla="*/ 5806440 w 6897189"/>
              <a:gd name="connsiteY10" fmla="*/ 785095 h 1163917"/>
              <a:gd name="connsiteX11" fmla="*/ 6041572 w 6897189"/>
              <a:gd name="connsiteY11" fmla="*/ 961444 h 1163917"/>
              <a:gd name="connsiteX12" fmla="*/ 6897189 w 6897189"/>
              <a:gd name="connsiteY12" fmla="*/ 1085541 h 1163917"/>
              <a:gd name="connsiteX0" fmla="*/ 0 w 6897189"/>
              <a:gd name="connsiteY0" fmla="*/ 1163917 h 1163917"/>
              <a:gd name="connsiteX1" fmla="*/ 545652 w 6897189"/>
              <a:gd name="connsiteY1" fmla="*/ 1148969 h 1163917"/>
              <a:gd name="connsiteX2" fmla="*/ 970194 w 6897189"/>
              <a:gd name="connsiteY2" fmla="*/ 1122844 h 1163917"/>
              <a:gd name="connsiteX3" fmla="*/ 1502229 w 6897189"/>
              <a:gd name="connsiteY3" fmla="*/ 981038 h 1163917"/>
              <a:gd name="connsiteX4" fmla="*/ 1959429 w 6897189"/>
              <a:gd name="connsiteY4" fmla="*/ 438929 h 1163917"/>
              <a:gd name="connsiteX5" fmla="*/ 2416629 w 6897189"/>
              <a:gd name="connsiteY5" fmla="*/ 112358 h 1163917"/>
              <a:gd name="connsiteX6" fmla="*/ 3037114 w 6897189"/>
              <a:gd name="connsiteY6" fmla="*/ 1324 h 1163917"/>
              <a:gd name="connsiteX7" fmla="*/ 4245429 w 6897189"/>
              <a:gd name="connsiteY7" fmla="*/ 60107 h 1163917"/>
              <a:gd name="connsiteX8" fmla="*/ 5094514 w 6897189"/>
              <a:gd name="connsiteY8" fmla="*/ 190735 h 1163917"/>
              <a:gd name="connsiteX9" fmla="*/ 5512526 w 6897189"/>
              <a:gd name="connsiteY9" fmla="*/ 451992 h 1163917"/>
              <a:gd name="connsiteX10" fmla="*/ 5806440 w 6897189"/>
              <a:gd name="connsiteY10" fmla="*/ 785095 h 1163917"/>
              <a:gd name="connsiteX11" fmla="*/ 6041572 w 6897189"/>
              <a:gd name="connsiteY11" fmla="*/ 961444 h 1163917"/>
              <a:gd name="connsiteX12" fmla="*/ 6897189 w 6897189"/>
              <a:gd name="connsiteY12" fmla="*/ 1085541 h 1163917"/>
              <a:gd name="connsiteX0" fmla="*/ 0 w 6897189"/>
              <a:gd name="connsiteY0" fmla="*/ 1163917 h 1163917"/>
              <a:gd name="connsiteX1" fmla="*/ 545652 w 6897189"/>
              <a:gd name="connsiteY1" fmla="*/ 1148969 h 1163917"/>
              <a:gd name="connsiteX2" fmla="*/ 970194 w 6897189"/>
              <a:gd name="connsiteY2" fmla="*/ 1122844 h 1163917"/>
              <a:gd name="connsiteX3" fmla="*/ 1528354 w 6897189"/>
              <a:gd name="connsiteY3" fmla="*/ 896129 h 1163917"/>
              <a:gd name="connsiteX4" fmla="*/ 1959429 w 6897189"/>
              <a:gd name="connsiteY4" fmla="*/ 438929 h 1163917"/>
              <a:gd name="connsiteX5" fmla="*/ 2416629 w 6897189"/>
              <a:gd name="connsiteY5" fmla="*/ 112358 h 1163917"/>
              <a:gd name="connsiteX6" fmla="*/ 3037114 w 6897189"/>
              <a:gd name="connsiteY6" fmla="*/ 1324 h 1163917"/>
              <a:gd name="connsiteX7" fmla="*/ 4245429 w 6897189"/>
              <a:gd name="connsiteY7" fmla="*/ 60107 h 1163917"/>
              <a:gd name="connsiteX8" fmla="*/ 5094514 w 6897189"/>
              <a:gd name="connsiteY8" fmla="*/ 190735 h 1163917"/>
              <a:gd name="connsiteX9" fmla="*/ 5512526 w 6897189"/>
              <a:gd name="connsiteY9" fmla="*/ 451992 h 1163917"/>
              <a:gd name="connsiteX10" fmla="*/ 5806440 w 6897189"/>
              <a:gd name="connsiteY10" fmla="*/ 785095 h 1163917"/>
              <a:gd name="connsiteX11" fmla="*/ 6041572 w 6897189"/>
              <a:gd name="connsiteY11" fmla="*/ 961444 h 1163917"/>
              <a:gd name="connsiteX12" fmla="*/ 6897189 w 6897189"/>
              <a:gd name="connsiteY12" fmla="*/ 1085541 h 1163917"/>
              <a:gd name="connsiteX0" fmla="*/ 0 w 6897189"/>
              <a:gd name="connsiteY0" fmla="*/ 1163917 h 1163917"/>
              <a:gd name="connsiteX1" fmla="*/ 545652 w 6897189"/>
              <a:gd name="connsiteY1" fmla="*/ 1148969 h 1163917"/>
              <a:gd name="connsiteX2" fmla="*/ 970194 w 6897189"/>
              <a:gd name="connsiteY2" fmla="*/ 1122844 h 1163917"/>
              <a:gd name="connsiteX3" fmla="*/ 1528354 w 6897189"/>
              <a:gd name="connsiteY3" fmla="*/ 896129 h 1163917"/>
              <a:gd name="connsiteX4" fmla="*/ 1959429 w 6897189"/>
              <a:gd name="connsiteY4" fmla="*/ 438929 h 1163917"/>
              <a:gd name="connsiteX5" fmla="*/ 2416629 w 6897189"/>
              <a:gd name="connsiteY5" fmla="*/ 112358 h 1163917"/>
              <a:gd name="connsiteX6" fmla="*/ 3037114 w 6897189"/>
              <a:gd name="connsiteY6" fmla="*/ 1324 h 1163917"/>
              <a:gd name="connsiteX7" fmla="*/ 4245429 w 6897189"/>
              <a:gd name="connsiteY7" fmla="*/ 60107 h 1163917"/>
              <a:gd name="connsiteX8" fmla="*/ 5094514 w 6897189"/>
              <a:gd name="connsiteY8" fmla="*/ 190735 h 1163917"/>
              <a:gd name="connsiteX9" fmla="*/ 5512526 w 6897189"/>
              <a:gd name="connsiteY9" fmla="*/ 451992 h 1163917"/>
              <a:gd name="connsiteX10" fmla="*/ 5806440 w 6897189"/>
              <a:gd name="connsiteY10" fmla="*/ 785095 h 1163917"/>
              <a:gd name="connsiteX11" fmla="*/ 6126481 w 6897189"/>
              <a:gd name="connsiteY11" fmla="*/ 954913 h 1163917"/>
              <a:gd name="connsiteX12" fmla="*/ 6897189 w 6897189"/>
              <a:gd name="connsiteY12" fmla="*/ 1085541 h 1163917"/>
              <a:gd name="connsiteX0" fmla="*/ 0 w 7648303"/>
              <a:gd name="connsiteY0" fmla="*/ 1163917 h 1163917"/>
              <a:gd name="connsiteX1" fmla="*/ 545652 w 7648303"/>
              <a:gd name="connsiteY1" fmla="*/ 1148969 h 1163917"/>
              <a:gd name="connsiteX2" fmla="*/ 970194 w 7648303"/>
              <a:gd name="connsiteY2" fmla="*/ 1122844 h 1163917"/>
              <a:gd name="connsiteX3" fmla="*/ 1528354 w 7648303"/>
              <a:gd name="connsiteY3" fmla="*/ 896129 h 1163917"/>
              <a:gd name="connsiteX4" fmla="*/ 1959429 w 7648303"/>
              <a:gd name="connsiteY4" fmla="*/ 438929 h 1163917"/>
              <a:gd name="connsiteX5" fmla="*/ 2416629 w 7648303"/>
              <a:gd name="connsiteY5" fmla="*/ 112358 h 1163917"/>
              <a:gd name="connsiteX6" fmla="*/ 3037114 w 7648303"/>
              <a:gd name="connsiteY6" fmla="*/ 1324 h 1163917"/>
              <a:gd name="connsiteX7" fmla="*/ 4245429 w 7648303"/>
              <a:gd name="connsiteY7" fmla="*/ 60107 h 1163917"/>
              <a:gd name="connsiteX8" fmla="*/ 5094514 w 7648303"/>
              <a:gd name="connsiteY8" fmla="*/ 190735 h 1163917"/>
              <a:gd name="connsiteX9" fmla="*/ 5512526 w 7648303"/>
              <a:gd name="connsiteY9" fmla="*/ 451992 h 1163917"/>
              <a:gd name="connsiteX10" fmla="*/ 5806440 w 7648303"/>
              <a:gd name="connsiteY10" fmla="*/ 785095 h 1163917"/>
              <a:gd name="connsiteX11" fmla="*/ 6126481 w 7648303"/>
              <a:gd name="connsiteY11" fmla="*/ 954913 h 1163917"/>
              <a:gd name="connsiteX12" fmla="*/ 7648303 w 7648303"/>
              <a:gd name="connsiteY12" fmla="*/ 1092072 h 1163917"/>
              <a:gd name="connsiteX0" fmla="*/ 0 w 7648303"/>
              <a:gd name="connsiteY0" fmla="*/ 1163917 h 1163917"/>
              <a:gd name="connsiteX1" fmla="*/ 545652 w 7648303"/>
              <a:gd name="connsiteY1" fmla="*/ 1148969 h 1163917"/>
              <a:gd name="connsiteX2" fmla="*/ 970194 w 7648303"/>
              <a:gd name="connsiteY2" fmla="*/ 1122844 h 1163917"/>
              <a:gd name="connsiteX3" fmla="*/ 1528354 w 7648303"/>
              <a:gd name="connsiteY3" fmla="*/ 896129 h 1163917"/>
              <a:gd name="connsiteX4" fmla="*/ 1959429 w 7648303"/>
              <a:gd name="connsiteY4" fmla="*/ 438929 h 1163917"/>
              <a:gd name="connsiteX5" fmla="*/ 2416629 w 7648303"/>
              <a:gd name="connsiteY5" fmla="*/ 112358 h 1163917"/>
              <a:gd name="connsiteX6" fmla="*/ 3037114 w 7648303"/>
              <a:gd name="connsiteY6" fmla="*/ 1324 h 1163917"/>
              <a:gd name="connsiteX7" fmla="*/ 4245429 w 7648303"/>
              <a:gd name="connsiteY7" fmla="*/ 60107 h 1163917"/>
              <a:gd name="connsiteX8" fmla="*/ 5094514 w 7648303"/>
              <a:gd name="connsiteY8" fmla="*/ 190735 h 1163917"/>
              <a:gd name="connsiteX9" fmla="*/ 5512526 w 7648303"/>
              <a:gd name="connsiteY9" fmla="*/ 451992 h 1163917"/>
              <a:gd name="connsiteX10" fmla="*/ 5806440 w 7648303"/>
              <a:gd name="connsiteY10" fmla="*/ 785095 h 1163917"/>
              <a:gd name="connsiteX11" fmla="*/ 6126481 w 7648303"/>
              <a:gd name="connsiteY11" fmla="*/ 954913 h 1163917"/>
              <a:gd name="connsiteX12" fmla="*/ 6802760 w 7648303"/>
              <a:gd name="connsiteY12" fmla="*/ 1024873 h 1163917"/>
              <a:gd name="connsiteX13" fmla="*/ 7648303 w 7648303"/>
              <a:gd name="connsiteY13" fmla="*/ 1092072 h 1163917"/>
              <a:gd name="connsiteX0" fmla="*/ 0 w 7648303"/>
              <a:gd name="connsiteY0" fmla="*/ 1163917 h 1163917"/>
              <a:gd name="connsiteX1" fmla="*/ 545652 w 7648303"/>
              <a:gd name="connsiteY1" fmla="*/ 1148969 h 1163917"/>
              <a:gd name="connsiteX2" fmla="*/ 970194 w 7648303"/>
              <a:gd name="connsiteY2" fmla="*/ 1122844 h 1163917"/>
              <a:gd name="connsiteX3" fmla="*/ 1528354 w 7648303"/>
              <a:gd name="connsiteY3" fmla="*/ 896129 h 1163917"/>
              <a:gd name="connsiteX4" fmla="*/ 1959429 w 7648303"/>
              <a:gd name="connsiteY4" fmla="*/ 438929 h 1163917"/>
              <a:gd name="connsiteX5" fmla="*/ 2416629 w 7648303"/>
              <a:gd name="connsiteY5" fmla="*/ 112358 h 1163917"/>
              <a:gd name="connsiteX6" fmla="*/ 3037114 w 7648303"/>
              <a:gd name="connsiteY6" fmla="*/ 1324 h 1163917"/>
              <a:gd name="connsiteX7" fmla="*/ 4245429 w 7648303"/>
              <a:gd name="connsiteY7" fmla="*/ 60107 h 1163917"/>
              <a:gd name="connsiteX8" fmla="*/ 5094514 w 7648303"/>
              <a:gd name="connsiteY8" fmla="*/ 190735 h 1163917"/>
              <a:gd name="connsiteX9" fmla="*/ 5512526 w 7648303"/>
              <a:gd name="connsiteY9" fmla="*/ 451992 h 1163917"/>
              <a:gd name="connsiteX10" fmla="*/ 5806440 w 7648303"/>
              <a:gd name="connsiteY10" fmla="*/ 785095 h 1163917"/>
              <a:gd name="connsiteX11" fmla="*/ 6126481 w 7648303"/>
              <a:gd name="connsiteY11" fmla="*/ 954913 h 1163917"/>
              <a:gd name="connsiteX12" fmla="*/ 6952983 w 7648303"/>
              <a:gd name="connsiteY12" fmla="*/ 1057530 h 1163917"/>
              <a:gd name="connsiteX13" fmla="*/ 7648303 w 7648303"/>
              <a:gd name="connsiteY13" fmla="*/ 1092072 h 1163917"/>
              <a:gd name="connsiteX0" fmla="*/ 0 w 7321731"/>
              <a:gd name="connsiteY0" fmla="*/ 1163917 h 1163917"/>
              <a:gd name="connsiteX1" fmla="*/ 545652 w 7321731"/>
              <a:gd name="connsiteY1" fmla="*/ 1148969 h 1163917"/>
              <a:gd name="connsiteX2" fmla="*/ 970194 w 7321731"/>
              <a:gd name="connsiteY2" fmla="*/ 1122844 h 1163917"/>
              <a:gd name="connsiteX3" fmla="*/ 1528354 w 7321731"/>
              <a:gd name="connsiteY3" fmla="*/ 896129 h 1163917"/>
              <a:gd name="connsiteX4" fmla="*/ 1959429 w 7321731"/>
              <a:gd name="connsiteY4" fmla="*/ 438929 h 1163917"/>
              <a:gd name="connsiteX5" fmla="*/ 2416629 w 7321731"/>
              <a:gd name="connsiteY5" fmla="*/ 112358 h 1163917"/>
              <a:gd name="connsiteX6" fmla="*/ 3037114 w 7321731"/>
              <a:gd name="connsiteY6" fmla="*/ 1324 h 1163917"/>
              <a:gd name="connsiteX7" fmla="*/ 4245429 w 7321731"/>
              <a:gd name="connsiteY7" fmla="*/ 60107 h 1163917"/>
              <a:gd name="connsiteX8" fmla="*/ 5094514 w 7321731"/>
              <a:gd name="connsiteY8" fmla="*/ 190735 h 1163917"/>
              <a:gd name="connsiteX9" fmla="*/ 5512526 w 7321731"/>
              <a:gd name="connsiteY9" fmla="*/ 451992 h 1163917"/>
              <a:gd name="connsiteX10" fmla="*/ 5806440 w 7321731"/>
              <a:gd name="connsiteY10" fmla="*/ 785095 h 1163917"/>
              <a:gd name="connsiteX11" fmla="*/ 6126481 w 7321731"/>
              <a:gd name="connsiteY11" fmla="*/ 954913 h 1163917"/>
              <a:gd name="connsiteX12" fmla="*/ 6952983 w 7321731"/>
              <a:gd name="connsiteY12" fmla="*/ 1057530 h 1163917"/>
              <a:gd name="connsiteX13" fmla="*/ 7321731 w 7321731"/>
              <a:gd name="connsiteY13" fmla="*/ 1085541 h 1163917"/>
              <a:gd name="connsiteX0" fmla="*/ 0 w 7321731"/>
              <a:gd name="connsiteY0" fmla="*/ 1163917 h 1163917"/>
              <a:gd name="connsiteX1" fmla="*/ 545652 w 7321731"/>
              <a:gd name="connsiteY1" fmla="*/ 1148969 h 1163917"/>
              <a:gd name="connsiteX2" fmla="*/ 970194 w 7321731"/>
              <a:gd name="connsiteY2" fmla="*/ 1122844 h 1163917"/>
              <a:gd name="connsiteX3" fmla="*/ 1528354 w 7321731"/>
              <a:gd name="connsiteY3" fmla="*/ 896129 h 1163917"/>
              <a:gd name="connsiteX4" fmla="*/ 1959429 w 7321731"/>
              <a:gd name="connsiteY4" fmla="*/ 438929 h 1163917"/>
              <a:gd name="connsiteX5" fmla="*/ 2416629 w 7321731"/>
              <a:gd name="connsiteY5" fmla="*/ 112358 h 1163917"/>
              <a:gd name="connsiteX6" fmla="*/ 3037114 w 7321731"/>
              <a:gd name="connsiteY6" fmla="*/ 1324 h 1163917"/>
              <a:gd name="connsiteX7" fmla="*/ 4245429 w 7321731"/>
              <a:gd name="connsiteY7" fmla="*/ 60107 h 1163917"/>
              <a:gd name="connsiteX8" fmla="*/ 5094514 w 7321731"/>
              <a:gd name="connsiteY8" fmla="*/ 190735 h 1163917"/>
              <a:gd name="connsiteX9" fmla="*/ 5512526 w 7321731"/>
              <a:gd name="connsiteY9" fmla="*/ 451992 h 1163917"/>
              <a:gd name="connsiteX10" fmla="*/ 5806440 w 7321731"/>
              <a:gd name="connsiteY10" fmla="*/ 785095 h 1163917"/>
              <a:gd name="connsiteX11" fmla="*/ 6126481 w 7321731"/>
              <a:gd name="connsiteY11" fmla="*/ 954913 h 1163917"/>
              <a:gd name="connsiteX12" fmla="*/ 6848480 w 7321731"/>
              <a:gd name="connsiteY12" fmla="*/ 1057530 h 1163917"/>
              <a:gd name="connsiteX13" fmla="*/ 7321731 w 7321731"/>
              <a:gd name="connsiteY13" fmla="*/ 1085541 h 1163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7321731" h="1163917">
                <a:moveTo>
                  <a:pt x="0" y="1163917"/>
                </a:moveTo>
                <a:cubicBezTo>
                  <a:pt x="86587" y="1150540"/>
                  <a:pt x="295281" y="1179449"/>
                  <a:pt x="545652" y="1148969"/>
                </a:cubicBezTo>
                <a:cubicBezTo>
                  <a:pt x="698642" y="1138858"/>
                  <a:pt x="808587" y="1149744"/>
                  <a:pt x="970194" y="1122844"/>
                </a:cubicBezTo>
                <a:cubicBezTo>
                  <a:pt x="1131801" y="1095944"/>
                  <a:pt x="1363482" y="1010115"/>
                  <a:pt x="1528354" y="896129"/>
                </a:cubicBezTo>
                <a:cubicBezTo>
                  <a:pt x="1693226" y="782143"/>
                  <a:pt x="1811383" y="569557"/>
                  <a:pt x="1959429" y="438929"/>
                </a:cubicBezTo>
                <a:cubicBezTo>
                  <a:pt x="2107475" y="308301"/>
                  <a:pt x="2237015" y="185292"/>
                  <a:pt x="2416629" y="112358"/>
                </a:cubicBezTo>
                <a:cubicBezTo>
                  <a:pt x="2596243" y="39424"/>
                  <a:pt x="2732314" y="10032"/>
                  <a:pt x="3037114" y="1324"/>
                </a:cubicBezTo>
                <a:cubicBezTo>
                  <a:pt x="3341914" y="-7385"/>
                  <a:pt x="3902529" y="28539"/>
                  <a:pt x="4245429" y="60107"/>
                </a:cubicBezTo>
                <a:cubicBezTo>
                  <a:pt x="4588329" y="91675"/>
                  <a:pt x="4883331" y="125421"/>
                  <a:pt x="5094514" y="190735"/>
                </a:cubicBezTo>
                <a:cubicBezTo>
                  <a:pt x="5305697" y="256049"/>
                  <a:pt x="5393872" y="352932"/>
                  <a:pt x="5512526" y="451992"/>
                </a:cubicBezTo>
                <a:cubicBezTo>
                  <a:pt x="5631180" y="551052"/>
                  <a:pt x="5704114" y="701275"/>
                  <a:pt x="5806440" y="785095"/>
                </a:cubicBezTo>
                <a:cubicBezTo>
                  <a:pt x="5908766" y="868915"/>
                  <a:pt x="5960428" y="914950"/>
                  <a:pt x="6126481" y="954913"/>
                </a:cubicBezTo>
                <a:cubicBezTo>
                  <a:pt x="6292534" y="994876"/>
                  <a:pt x="6594843" y="1034670"/>
                  <a:pt x="6848480" y="1057530"/>
                </a:cubicBezTo>
                <a:cubicBezTo>
                  <a:pt x="7102117" y="1080390"/>
                  <a:pt x="7180807" y="1074341"/>
                  <a:pt x="7321731" y="1085541"/>
                </a:cubicBezTo>
              </a:path>
            </a:pathLst>
          </a:custGeom>
          <a:noFill/>
          <a:ln w="12700">
            <a:solidFill>
              <a:srgbClr val="27509B"/>
            </a:solidFill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7648303"/>
                      <a:gd name="connsiteY0" fmla="*/ 1163917 h 1163917"/>
                      <a:gd name="connsiteX1" fmla="*/ 545652 w 7648303"/>
                      <a:gd name="connsiteY1" fmla="*/ 1148969 h 1163917"/>
                      <a:gd name="connsiteX2" fmla="*/ 970194 w 7648303"/>
                      <a:gd name="connsiteY2" fmla="*/ 1122844 h 1163917"/>
                      <a:gd name="connsiteX3" fmla="*/ 1528354 w 7648303"/>
                      <a:gd name="connsiteY3" fmla="*/ 896129 h 1163917"/>
                      <a:gd name="connsiteX4" fmla="*/ 1959429 w 7648303"/>
                      <a:gd name="connsiteY4" fmla="*/ 438929 h 1163917"/>
                      <a:gd name="connsiteX5" fmla="*/ 2416629 w 7648303"/>
                      <a:gd name="connsiteY5" fmla="*/ 112358 h 1163917"/>
                      <a:gd name="connsiteX6" fmla="*/ 3037114 w 7648303"/>
                      <a:gd name="connsiteY6" fmla="*/ 1324 h 1163917"/>
                      <a:gd name="connsiteX7" fmla="*/ 4245429 w 7648303"/>
                      <a:gd name="connsiteY7" fmla="*/ 60107 h 1163917"/>
                      <a:gd name="connsiteX8" fmla="*/ 5094514 w 7648303"/>
                      <a:gd name="connsiteY8" fmla="*/ 190735 h 1163917"/>
                      <a:gd name="connsiteX9" fmla="*/ 5512526 w 7648303"/>
                      <a:gd name="connsiteY9" fmla="*/ 451992 h 1163917"/>
                      <a:gd name="connsiteX10" fmla="*/ 5806440 w 7648303"/>
                      <a:gd name="connsiteY10" fmla="*/ 785095 h 1163917"/>
                      <a:gd name="connsiteX11" fmla="*/ 6126481 w 7648303"/>
                      <a:gd name="connsiteY11" fmla="*/ 954913 h 1163917"/>
                      <a:gd name="connsiteX12" fmla="*/ 6952983 w 7648303"/>
                      <a:gd name="connsiteY12" fmla="*/ 1057530 h 1163917"/>
                      <a:gd name="connsiteX13" fmla="*/ 7648303 w 7648303"/>
                      <a:gd name="connsiteY13" fmla="*/ 1092072 h 11639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7648303" h="1163917" extrusionOk="0">
                        <a:moveTo>
                          <a:pt x="0" y="1163917"/>
                        </a:moveTo>
                        <a:cubicBezTo>
                          <a:pt x="50563" y="1128320"/>
                          <a:pt x="273482" y="1187631"/>
                          <a:pt x="545652" y="1148969"/>
                        </a:cubicBezTo>
                        <a:cubicBezTo>
                          <a:pt x="701440" y="1139447"/>
                          <a:pt x="798608" y="1150061"/>
                          <a:pt x="970194" y="1122844"/>
                        </a:cubicBezTo>
                        <a:cubicBezTo>
                          <a:pt x="1105458" y="1121670"/>
                          <a:pt x="1356171" y="1050528"/>
                          <a:pt x="1528354" y="896129"/>
                        </a:cubicBezTo>
                        <a:cubicBezTo>
                          <a:pt x="1671076" y="770024"/>
                          <a:pt x="1828334" y="577657"/>
                          <a:pt x="1959429" y="438929"/>
                        </a:cubicBezTo>
                        <a:cubicBezTo>
                          <a:pt x="2113183" y="308978"/>
                          <a:pt x="2239412" y="180358"/>
                          <a:pt x="2416629" y="112358"/>
                        </a:cubicBezTo>
                        <a:cubicBezTo>
                          <a:pt x="2576184" y="36352"/>
                          <a:pt x="2713191" y="28036"/>
                          <a:pt x="3037114" y="1324"/>
                        </a:cubicBezTo>
                        <a:cubicBezTo>
                          <a:pt x="3339573" y="-29711"/>
                          <a:pt x="3865835" y="79534"/>
                          <a:pt x="4245429" y="60107"/>
                        </a:cubicBezTo>
                        <a:cubicBezTo>
                          <a:pt x="4605829" y="101472"/>
                          <a:pt x="4933825" y="137562"/>
                          <a:pt x="5094514" y="190735"/>
                        </a:cubicBezTo>
                        <a:cubicBezTo>
                          <a:pt x="5295489" y="254398"/>
                          <a:pt x="5396831" y="355352"/>
                          <a:pt x="5512526" y="451992"/>
                        </a:cubicBezTo>
                        <a:cubicBezTo>
                          <a:pt x="5644496" y="570875"/>
                          <a:pt x="5706149" y="722350"/>
                          <a:pt x="5806440" y="785095"/>
                        </a:cubicBezTo>
                        <a:cubicBezTo>
                          <a:pt x="5912925" y="875321"/>
                          <a:pt x="5968363" y="924670"/>
                          <a:pt x="6126481" y="954913"/>
                        </a:cubicBezTo>
                        <a:cubicBezTo>
                          <a:pt x="6317969" y="972606"/>
                          <a:pt x="6705990" y="1003418"/>
                          <a:pt x="6952983" y="1057530"/>
                        </a:cubicBezTo>
                        <a:cubicBezTo>
                          <a:pt x="7190417" y="1083051"/>
                          <a:pt x="7492325" y="1070485"/>
                          <a:pt x="7648303" y="1092072"/>
                        </a:cubicBezTo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cxnSp>
        <p:nvCxnSpPr>
          <p:cNvPr id="26" name="Connecteur droit avec flèche 25">
            <a:extLst>
              <a:ext uri="{FF2B5EF4-FFF2-40B4-BE49-F238E27FC236}">
                <a16:creationId xmlns:a16="http://schemas.microsoft.com/office/drawing/2014/main" id="{E2E4AFB3-CA2B-E140-90E3-F26E35EB28AD}"/>
              </a:ext>
            </a:extLst>
          </p:cNvPr>
          <p:cNvCxnSpPr>
            <a:cxnSpLocks/>
          </p:cNvCxnSpPr>
          <p:nvPr/>
        </p:nvCxnSpPr>
        <p:spPr>
          <a:xfrm flipV="1">
            <a:off x="1143248" y="3141794"/>
            <a:ext cx="0" cy="1169985"/>
          </a:xfrm>
          <a:prstGeom prst="straightConnector1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Connecteur droit avec flèche 46">
            <a:extLst>
              <a:ext uri="{FF2B5EF4-FFF2-40B4-BE49-F238E27FC236}">
                <a16:creationId xmlns:a16="http://schemas.microsoft.com/office/drawing/2014/main" id="{5F52299A-2205-BB47-9680-EAA55421738D}"/>
              </a:ext>
            </a:extLst>
          </p:cNvPr>
          <p:cNvCxnSpPr>
            <a:cxnSpLocks/>
          </p:cNvCxnSpPr>
          <p:nvPr/>
        </p:nvCxnSpPr>
        <p:spPr>
          <a:xfrm flipV="1">
            <a:off x="3052602" y="3015779"/>
            <a:ext cx="0" cy="1296000"/>
          </a:xfrm>
          <a:prstGeom prst="straightConnector1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prstDash val="dash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Connecteur droit avec flèche 48">
            <a:extLst>
              <a:ext uri="{FF2B5EF4-FFF2-40B4-BE49-F238E27FC236}">
                <a16:creationId xmlns:a16="http://schemas.microsoft.com/office/drawing/2014/main" id="{8192C4BA-7E3D-0949-A9C3-8D58016D2CC6}"/>
              </a:ext>
            </a:extLst>
          </p:cNvPr>
          <p:cNvCxnSpPr>
            <a:cxnSpLocks/>
          </p:cNvCxnSpPr>
          <p:nvPr/>
        </p:nvCxnSpPr>
        <p:spPr>
          <a:xfrm flipV="1">
            <a:off x="4888108" y="3015779"/>
            <a:ext cx="0" cy="1296000"/>
          </a:xfrm>
          <a:prstGeom prst="straightConnector1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prstDash val="dash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Connecteur droit avec flèche 49">
            <a:extLst>
              <a:ext uri="{FF2B5EF4-FFF2-40B4-BE49-F238E27FC236}">
                <a16:creationId xmlns:a16="http://schemas.microsoft.com/office/drawing/2014/main" id="{649D5B87-B229-B046-B7DA-9E453156AC31}"/>
              </a:ext>
            </a:extLst>
          </p:cNvPr>
          <p:cNvCxnSpPr>
            <a:cxnSpLocks/>
          </p:cNvCxnSpPr>
          <p:nvPr/>
        </p:nvCxnSpPr>
        <p:spPr>
          <a:xfrm flipV="1">
            <a:off x="6723615" y="3015779"/>
            <a:ext cx="0" cy="1296000"/>
          </a:xfrm>
          <a:prstGeom prst="straightConnector1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prstDash val="dash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ZoneTexte 55">
            <a:extLst>
              <a:ext uri="{FF2B5EF4-FFF2-40B4-BE49-F238E27FC236}">
                <a16:creationId xmlns:a16="http://schemas.microsoft.com/office/drawing/2014/main" id="{7932E0A2-8068-6940-A6A4-115420BA9991}"/>
              </a:ext>
            </a:extLst>
          </p:cNvPr>
          <p:cNvSpPr txBox="1"/>
          <p:nvPr/>
        </p:nvSpPr>
        <p:spPr>
          <a:xfrm>
            <a:off x="628639" y="3133408"/>
            <a:ext cx="50847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Usage</a:t>
            </a:r>
          </a:p>
        </p:txBody>
      </p:sp>
      <p:cxnSp>
        <p:nvCxnSpPr>
          <p:cNvPr id="58" name="Connecteur droit avec flèche 57">
            <a:extLst>
              <a:ext uri="{FF2B5EF4-FFF2-40B4-BE49-F238E27FC236}">
                <a16:creationId xmlns:a16="http://schemas.microsoft.com/office/drawing/2014/main" id="{C38D8DD9-D729-9940-8600-440BD9DBD70E}"/>
              </a:ext>
            </a:extLst>
          </p:cNvPr>
          <p:cNvCxnSpPr>
            <a:cxnSpLocks/>
          </p:cNvCxnSpPr>
          <p:nvPr/>
        </p:nvCxnSpPr>
        <p:spPr>
          <a:xfrm>
            <a:off x="1138450" y="4313969"/>
            <a:ext cx="7567501" cy="9938"/>
          </a:xfrm>
          <a:prstGeom prst="straightConnector1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0" name="ZoneTexte 59">
            <a:extLst>
              <a:ext uri="{FF2B5EF4-FFF2-40B4-BE49-F238E27FC236}">
                <a16:creationId xmlns:a16="http://schemas.microsoft.com/office/drawing/2014/main" id="{ADC19192-CE84-CE4F-8385-7E0E51568B27}"/>
              </a:ext>
            </a:extLst>
          </p:cNvPr>
          <p:cNvSpPr txBox="1"/>
          <p:nvPr/>
        </p:nvSpPr>
        <p:spPr>
          <a:xfrm>
            <a:off x="8451714" y="4326097"/>
            <a:ext cx="44275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ime</a:t>
            </a:r>
          </a:p>
        </p:txBody>
      </p:sp>
      <p:pic>
        <p:nvPicPr>
          <p:cNvPr id="20" name="Graphique 19">
            <a:extLst>
              <a:ext uri="{FF2B5EF4-FFF2-40B4-BE49-F238E27FC236}">
                <a16:creationId xmlns:a16="http://schemas.microsoft.com/office/drawing/2014/main" id="{5FD67F87-B6A8-8548-B84B-C958157FF01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0" y="1062870"/>
            <a:ext cx="9144000" cy="2022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19086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7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LIDE 1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HAPITR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FIN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1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2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3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4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8B6676EFF43BD44A973BAF3C3F8897C" ma:contentTypeVersion="11" ma:contentTypeDescription="Crée un document." ma:contentTypeScope="" ma:versionID="16055b838173ea074c74866c85749e9f">
  <xsd:schema xmlns:xsd="http://www.w3.org/2001/XMLSchema" xmlns:xs="http://www.w3.org/2001/XMLSchema" xmlns:p="http://schemas.microsoft.com/office/2006/metadata/properties" xmlns:ns3="e2e26994-5e48-4994-8c16-0b6f61c4bc8a" xmlns:ns4="9f09b4db-7fdb-4a79-a1ce-e7e1d5ac2b17" targetNamespace="http://schemas.microsoft.com/office/2006/metadata/properties" ma:root="true" ma:fieldsID="7356ef530764415288c8753ef1e753cb" ns3:_="" ns4:_="">
    <xsd:import namespace="e2e26994-5e48-4994-8c16-0b6f61c4bc8a"/>
    <xsd:import namespace="9f09b4db-7fdb-4a79-a1ce-e7e1d5ac2b17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DateTaken" minOccurs="0"/>
                <xsd:element ref="ns4:MediaServiceLocation" minOccurs="0"/>
                <xsd:element ref="ns4:MediaServiceOCR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e26994-5e48-4994-8c16-0b6f61c4bc8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Partagé avec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Partagé avec dé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Partage du hachage d’indicateur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f09b4db-7fdb-4a79-a1ce-e7e1d5ac2b1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345BF31-44AE-4465-BECF-E43C8C381DB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EFC16D8-2F60-4844-97AE-E0BD300158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2e26994-5e48-4994-8c16-0b6f61c4bc8a"/>
    <ds:schemaRef ds:uri="9f09b4db-7fdb-4a79-a1ce-e7e1d5ac2b1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FC97AAC-D16A-478F-95B1-E9944B8633B3}">
  <ds:schemaRefs>
    <ds:schemaRef ds:uri="http://www.w3.org/XML/1998/namespace"/>
    <ds:schemaRef ds:uri="http://schemas.microsoft.com/office/2006/documentManagement/types"/>
    <ds:schemaRef ds:uri="http://purl.org/dc/elements/1.1/"/>
    <ds:schemaRef ds:uri="http://purl.org/dc/dcmitype/"/>
    <ds:schemaRef ds:uri="http://schemas.microsoft.com/office/infopath/2007/PartnerControls"/>
    <ds:schemaRef ds:uri="e2e26994-5e48-4994-8c16-0b6f61c4bc8a"/>
    <ds:schemaRef ds:uri="http://purl.org/dc/terms/"/>
    <ds:schemaRef ds:uri="http://schemas.openxmlformats.org/package/2006/metadata/core-properties"/>
    <ds:schemaRef ds:uri="9f09b4db-7fdb-4a79-a1ce-e7e1d5ac2b17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4</TotalTime>
  <Words>19</Words>
  <Application>Microsoft Macintosh PowerPoint</Application>
  <PresentationFormat>Affichage à l'écran (16:9)</PresentationFormat>
  <Paragraphs>12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10</vt:i4>
      </vt:variant>
      <vt:variant>
        <vt:lpstr>Thème</vt:lpstr>
      </vt:variant>
      <vt:variant>
        <vt:i4>8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20" baseType="lpstr">
      <vt:lpstr>Arial</vt:lpstr>
      <vt:lpstr>Calibri</vt:lpstr>
      <vt:lpstr>Gotham Rounded Bold</vt:lpstr>
      <vt:lpstr>Lucida Grande</vt:lpstr>
      <vt:lpstr>Michelin</vt:lpstr>
      <vt:lpstr>Michelin Black</vt:lpstr>
      <vt:lpstr>Michelin SemiBold</vt:lpstr>
      <vt:lpstr>Rounded Elegance</vt:lpstr>
      <vt:lpstr>Wingdings</vt:lpstr>
      <vt:lpstr>Wingdings 3</vt:lpstr>
      <vt:lpstr>SLIDE 1</vt:lpstr>
      <vt:lpstr>CHAPITRE</vt:lpstr>
      <vt:lpstr>CONTENU</vt:lpstr>
      <vt:lpstr>FIN</vt:lpstr>
      <vt:lpstr>1_CONTENU</vt:lpstr>
      <vt:lpstr>2_CONTENU</vt:lpstr>
      <vt:lpstr>3_CONTENU</vt:lpstr>
      <vt:lpstr>4_CONTENU</vt:lpstr>
      <vt:lpstr>Diapositive think-cell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oward a digital Information system EA Steering, March 22nd</dc:title>
  <dc:creator>Nicolas CHEVALIER</dc:creator>
  <cp:lastModifiedBy>Thierry Fraudet</cp:lastModifiedBy>
  <cp:revision>581</cp:revision>
  <cp:lastPrinted>2020-01-30T15:06:13Z</cp:lastPrinted>
  <dcterms:modified xsi:type="dcterms:W3CDTF">2020-12-15T17:23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8B6676EFF43BD44A973BAF3C3F8897C</vt:lpwstr>
  </property>
</Properties>
</file>